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2147375617" r:id="rId7"/>
    <p:sldId id="2147375618" r:id="rId8"/>
    <p:sldId id="2147375619" r:id="rId9"/>
    <p:sldId id="2147375620" r:id="rId10"/>
    <p:sldId id="2147375621" r:id="rId11"/>
    <p:sldId id="2147375622" r:id="rId12"/>
    <p:sldId id="2147375623" r:id="rId13"/>
    <p:sldId id="2147375624" r:id="rId14"/>
    <p:sldId id="2147375625" r:id="rId15"/>
    <p:sldId id="2147375626" r:id="rId16"/>
    <p:sldId id="2147375627" r:id="rId17"/>
    <p:sldId id="2147375628" r:id="rId18"/>
    <p:sldId id="2147375629" r:id="rId19"/>
    <p:sldId id="2147375630" r:id="rId20"/>
    <p:sldId id="2147375631" r:id="rId21"/>
    <p:sldId id="2147375632" r:id="rId22"/>
    <p:sldId id="2147375633"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7FE4E0-A6B6-435B-ABB5-F0F85564C42C}" v="25" dt="2024-09-20T18:27:44.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82" d="100"/>
          <a:sy n="82" d="100"/>
        </p:scale>
        <p:origin x="720"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Hitesh, Hitesh SBOBNG-PTIY/AEC" userId="4b40d14c-6959-4a04-b09b-037994df9ab1" providerId="ADAL" clId="{797FE4E0-A6B6-435B-ABB5-F0F85564C42C}"/>
    <pc:docChg chg="undo custSel modSld">
      <pc:chgData name="Hitesh, Hitesh SBOBNG-PTIY/AEC" userId="4b40d14c-6959-4a04-b09b-037994df9ab1" providerId="ADAL" clId="{797FE4E0-A6B6-435B-ABB5-F0F85564C42C}" dt="2024-09-20T18:28:00.073" v="40" actId="14826"/>
      <pc:docMkLst>
        <pc:docMk/>
      </pc:docMkLst>
      <pc:sldChg chg="modSp">
        <pc:chgData name="Hitesh, Hitesh SBOBNG-PTIY/AEC" userId="4b40d14c-6959-4a04-b09b-037994df9ab1" providerId="ADAL" clId="{797FE4E0-A6B6-435B-ABB5-F0F85564C42C}" dt="2024-09-20T17:26:11.066" v="2" actId="1076"/>
        <pc:sldMkLst>
          <pc:docMk/>
          <pc:sldMk cId="3971512377" sldId="2147375603"/>
        </pc:sldMkLst>
        <pc:picChg chg="mod">
          <ac:chgData name="Hitesh, Hitesh SBOBNG-PTIY/AEC" userId="4b40d14c-6959-4a04-b09b-037994df9ab1" providerId="ADAL" clId="{797FE4E0-A6B6-435B-ABB5-F0F85564C42C}" dt="2024-09-20T17:26:11.066" v="2" actId="1076"/>
          <ac:picMkLst>
            <pc:docMk/>
            <pc:sldMk cId="3971512377" sldId="2147375603"/>
            <ac:picMk id="4098" creationId="{FE24C82C-2405-70F4-6C36-66D5CF5A812A}"/>
          </ac:picMkLst>
        </pc:picChg>
      </pc:sldChg>
      <pc:sldChg chg="modSp">
        <pc:chgData name="Hitesh, Hitesh SBOBNG-PTIY/AEC" userId="4b40d14c-6959-4a04-b09b-037994df9ab1" providerId="ADAL" clId="{797FE4E0-A6B6-435B-ABB5-F0F85564C42C}" dt="2024-09-20T17:49:18.987" v="3" actId="14826"/>
        <pc:sldMkLst>
          <pc:docMk/>
          <pc:sldMk cId="3179805674" sldId="2147375604"/>
        </pc:sldMkLst>
        <pc:picChg chg="mod">
          <ac:chgData name="Hitesh, Hitesh SBOBNG-PTIY/AEC" userId="4b40d14c-6959-4a04-b09b-037994df9ab1" providerId="ADAL" clId="{797FE4E0-A6B6-435B-ABB5-F0F85564C42C}" dt="2024-09-20T17:49:18.987" v="3" actId="14826"/>
          <ac:picMkLst>
            <pc:docMk/>
            <pc:sldMk cId="3179805674" sldId="2147375604"/>
            <ac:picMk id="5122" creationId="{BA6208B2-46CD-D95E-E558-067E34059F90}"/>
          </ac:picMkLst>
        </pc:picChg>
      </pc:sldChg>
      <pc:sldChg chg="modSp mod">
        <pc:chgData name="Hitesh, Hitesh SBOBNG-PTIY/AEC" userId="4b40d14c-6959-4a04-b09b-037994df9ab1" providerId="ADAL" clId="{797FE4E0-A6B6-435B-ABB5-F0F85564C42C}" dt="2024-09-20T17:59:06.658" v="6" actId="14826"/>
        <pc:sldMkLst>
          <pc:docMk/>
          <pc:sldMk cId="86366928" sldId="2147375605"/>
        </pc:sldMkLst>
        <pc:picChg chg="mod">
          <ac:chgData name="Hitesh, Hitesh SBOBNG-PTIY/AEC" userId="4b40d14c-6959-4a04-b09b-037994df9ab1" providerId="ADAL" clId="{797FE4E0-A6B6-435B-ABB5-F0F85564C42C}" dt="2024-09-20T17:59:06.658" v="6" actId="14826"/>
          <ac:picMkLst>
            <pc:docMk/>
            <pc:sldMk cId="86366928" sldId="2147375605"/>
            <ac:picMk id="6" creationId="{2A1952D4-C932-BF5D-D129-0AA60E158F47}"/>
          </ac:picMkLst>
        </pc:picChg>
      </pc:sldChg>
      <pc:sldChg chg="modSp">
        <pc:chgData name="Hitesh, Hitesh SBOBNG-PTIY/AEC" userId="4b40d14c-6959-4a04-b09b-037994df9ab1" providerId="ADAL" clId="{797FE4E0-A6B6-435B-ABB5-F0F85564C42C}" dt="2024-09-20T18:02:34.515" v="9" actId="1076"/>
        <pc:sldMkLst>
          <pc:docMk/>
          <pc:sldMk cId="2340944189" sldId="2147375607"/>
        </pc:sldMkLst>
        <pc:picChg chg="mod">
          <ac:chgData name="Hitesh, Hitesh SBOBNG-PTIY/AEC" userId="4b40d14c-6959-4a04-b09b-037994df9ab1" providerId="ADAL" clId="{797FE4E0-A6B6-435B-ABB5-F0F85564C42C}" dt="2024-09-20T18:02:34.515" v="9" actId="1076"/>
          <ac:picMkLst>
            <pc:docMk/>
            <pc:sldMk cId="2340944189" sldId="2147375607"/>
            <ac:picMk id="7170" creationId="{68993528-4766-4CFF-40F6-3065AA50E235}"/>
          </ac:picMkLst>
        </pc:picChg>
      </pc:sldChg>
      <pc:sldChg chg="modSp">
        <pc:chgData name="Hitesh, Hitesh SBOBNG-PTIY/AEC" userId="4b40d14c-6959-4a04-b09b-037994df9ab1" providerId="ADAL" clId="{797FE4E0-A6B6-435B-ABB5-F0F85564C42C}" dt="2024-09-20T18:05:15.595" v="13" actId="1076"/>
        <pc:sldMkLst>
          <pc:docMk/>
          <pc:sldMk cId="3159148252" sldId="2147375608"/>
        </pc:sldMkLst>
        <pc:picChg chg="mod">
          <ac:chgData name="Hitesh, Hitesh SBOBNG-PTIY/AEC" userId="4b40d14c-6959-4a04-b09b-037994df9ab1" providerId="ADAL" clId="{797FE4E0-A6B6-435B-ABB5-F0F85564C42C}" dt="2024-09-20T18:05:15.595" v="13" actId="1076"/>
          <ac:picMkLst>
            <pc:docMk/>
            <pc:sldMk cId="3159148252" sldId="2147375608"/>
            <ac:picMk id="5122" creationId="{02827C9D-3B55-5C82-5583-A52CD9308ACF}"/>
          </ac:picMkLst>
        </pc:picChg>
      </pc:sldChg>
      <pc:sldChg chg="modSp">
        <pc:chgData name="Hitesh, Hitesh SBOBNG-PTIY/AEC" userId="4b40d14c-6959-4a04-b09b-037994df9ab1" providerId="ADAL" clId="{797FE4E0-A6B6-435B-ABB5-F0F85564C42C}" dt="2024-09-20T18:11:04.728" v="14" actId="14826"/>
        <pc:sldMkLst>
          <pc:docMk/>
          <pc:sldMk cId="439621766" sldId="2147375618"/>
        </pc:sldMkLst>
        <pc:picChg chg="mod">
          <ac:chgData name="Hitesh, Hitesh SBOBNG-PTIY/AEC" userId="4b40d14c-6959-4a04-b09b-037994df9ab1" providerId="ADAL" clId="{797FE4E0-A6B6-435B-ABB5-F0F85564C42C}" dt="2024-09-20T18:11:04.728" v="14" actId="14826"/>
          <ac:picMkLst>
            <pc:docMk/>
            <pc:sldMk cId="439621766" sldId="2147375618"/>
            <ac:picMk id="1026" creationId="{820842B5-632A-F598-17D1-30DA0A2C511F}"/>
          </ac:picMkLst>
        </pc:picChg>
      </pc:sldChg>
      <pc:sldChg chg="modSp">
        <pc:chgData name="Hitesh, Hitesh SBOBNG-PTIY/AEC" userId="4b40d14c-6959-4a04-b09b-037994df9ab1" providerId="ADAL" clId="{797FE4E0-A6B6-435B-ABB5-F0F85564C42C}" dt="2024-09-20T18:11:47.147" v="19" actId="1076"/>
        <pc:sldMkLst>
          <pc:docMk/>
          <pc:sldMk cId="3867604313" sldId="2147375619"/>
        </pc:sldMkLst>
        <pc:picChg chg="mod">
          <ac:chgData name="Hitesh, Hitesh SBOBNG-PTIY/AEC" userId="4b40d14c-6959-4a04-b09b-037994df9ab1" providerId="ADAL" clId="{797FE4E0-A6B6-435B-ABB5-F0F85564C42C}" dt="2024-09-20T18:11:47.147" v="19" actId="1076"/>
          <ac:picMkLst>
            <pc:docMk/>
            <pc:sldMk cId="3867604313" sldId="2147375619"/>
            <ac:picMk id="2" creationId="{A5838BAB-9255-906D-BDA1-552C84DBF785}"/>
          </ac:picMkLst>
        </pc:picChg>
      </pc:sldChg>
      <pc:sldChg chg="modSp">
        <pc:chgData name="Hitesh, Hitesh SBOBNG-PTIY/AEC" userId="4b40d14c-6959-4a04-b09b-037994df9ab1" providerId="ADAL" clId="{797FE4E0-A6B6-435B-ABB5-F0F85564C42C}" dt="2024-09-20T18:12:29.236" v="20" actId="14826"/>
        <pc:sldMkLst>
          <pc:docMk/>
          <pc:sldMk cId="477610887" sldId="2147375620"/>
        </pc:sldMkLst>
        <pc:picChg chg="mod">
          <ac:chgData name="Hitesh, Hitesh SBOBNG-PTIY/AEC" userId="4b40d14c-6959-4a04-b09b-037994df9ab1" providerId="ADAL" clId="{797FE4E0-A6B6-435B-ABB5-F0F85564C42C}" dt="2024-09-20T18:12:29.236" v="20" actId="14826"/>
          <ac:picMkLst>
            <pc:docMk/>
            <pc:sldMk cId="477610887" sldId="2147375620"/>
            <ac:picMk id="1028" creationId="{55AEC334-4A37-4C98-1C1D-90F50548F215}"/>
          </ac:picMkLst>
        </pc:picChg>
      </pc:sldChg>
      <pc:sldChg chg="modSp">
        <pc:chgData name="Hitesh, Hitesh SBOBNG-PTIY/AEC" userId="4b40d14c-6959-4a04-b09b-037994df9ab1" providerId="ADAL" clId="{797FE4E0-A6B6-435B-ABB5-F0F85564C42C}" dt="2024-09-20T18:18:45.676" v="21" actId="14826"/>
        <pc:sldMkLst>
          <pc:docMk/>
          <pc:sldMk cId="1959093517" sldId="2147375622"/>
        </pc:sldMkLst>
        <pc:picChg chg="mod">
          <ac:chgData name="Hitesh, Hitesh SBOBNG-PTIY/AEC" userId="4b40d14c-6959-4a04-b09b-037994df9ab1" providerId="ADAL" clId="{797FE4E0-A6B6-435B-ABB5-F0F85564C42C}" dt="2024-09-20T18:18:45.676" v="21" actId="14826"/>
          <ac:picMkLst>
            <pc:docMk/>
            <pc:sldMk cId="1959093517" sldId="2147375622"/>
            <ac:picMk id="4098" creationId="{FE24C82C-2405-70F4-6C36-66D5CF5A812A}"/>
          </ac:picMkLst>
        </pc:picChg>
      </pc:sldChg>
      <pc:sldChg chg="modSp">
        <pc:chgData name="Hitesh, Hitesh SBOBNG-PTIY/AEC" userId="4b40d14c-6959-4a04-b09b-037994df9ab1" providerId="ADAL" clId="{797FE4E0-A6B6-435B-ABB5-F0F85564C42C}" dt="2024-09-20T18:21:04.995" v="22" actId="14826"/>
        <pc:sldMkLst>
          <pc:docMk/>
          <pc:sldMk cId="3041550471" sldId="2147375623"/>
        </pc:sldMkLst>
        <pc:picChg chg="mod">
          <ac:chgData name="Hitesh, Hitesh SBOBNG-PTIY/AEC" userId="4b40d14c-6959-4a04-b09b-037994df9ab1" providerId="ADAL" clId="{797FE4E0-A6B6-435B-ABB5-F0F85564C42C}" dt="2024-09-20T18:21:04.995" v="22" actId="14826"/>
          <ac:picMkLst>
            <pc:docMk/>
            <pc:sldMk cId="3041550471" sldId="2147375623"/>
            <ac:picMk id="5122" creationId="{BA6208B2-46CD-D95E-E558-067E34059F90}"/>
          </ac:picMkLst>
        </pc:picChg>
      </pc:sldChg>
      <pc:sldChg chg="modSp mod">
        <pc:chgData name="Hitesh, Hitesh SBOBNG-PTIY/AEC" userId="4b40d14c-6959-4a04-b09b-037994df9ab1" providerId="ADAL" clId="{797FE4E0-A6B6-435B-ABB5-F0F85564C42C}" dt="2024-09-20T18:24:25.035" v="25" actId="14826"/>
        <pc:sldMkLst>
          <pc:docMk/>
          <pc:sldMk cId="3399457661" sldId="2147375624"/>
        </pc:sldMkLst>
        <pc:picChg chg="mod">
          <ac:chgData name="Hitesh, Hitesh SBOBNG-PTIY/AEC" userId="4b40d14c-6959-4a04-b09b-037994df9ab1" providerId="ADAL" clId="{797FE4E0-A6B6-435B-ABB5-F0F85564C42C}" dt="2024-09-20T18:24:25.035" v="25" actId="14826"/>
          <ac:picMkLst>
            <pc:docMk/>
            <pc:sldMk cId="3399457661" sldId="2147375624"/>
            <ac:picMk id="6" creationId="{2A1952D4-C932-BF5D-D129-0AA60E158F47}"/>
          </ac:picMkLst>
        </pc:picChg>
      </pc:sldChg>
      <pc:sldChg chg="modSp">
        <pc:chgData name="Hitesh, Hitesh SBOBNG-PTIY/AEC" userId="4b40d14c-6959-4a04-b09b-037994df9ab1" providerId="ADAL" clId="{797FE4E0-A6B6-435B-ABB5-F0F85564C42C}" dt="2024-09-20T18:26:25.851" v="36" actId="14826"/>
        <pc:sldMkLst>
          <pc:docMk/>
          <pc:sldMk cId="2838098743" sldId="2147375626"/>
        </pc:sldMkLst>
        <pc:picChg chg="mod">
          <ac:chgData name="Hitesh, Hitesh SBOBNG-PTIY/AEC" userId="4b40d14c-6959-4a04-b09b-037994df9ab1" providerId="ADAL" clId="{797FE4E0-A6B6-435B-ABB5-F0F85564C42C}" dt="2024-09-20T18:26:25.851" v="36" actId="14826"/>
          <ac:picMkLst>
            <pc:docMk/>
            <pc:sldMk cId="2838098743" sldId="2147375626"/>
            <ac:picMk id="7170" creationId="{68993528-4766-4CFF-40F6-3065AA50E235}"/>
          </ac:picMkLst>
        </pc:picChg>
      </pc:sldChg>
      <pc:sldChg chg="modSp">
        <pc:chgData name="Hitesh, Hitesh SBOBNG-PTIY/AEC" userId="4b40d14c-6959-4a04-b09b-037994df9ab1" providerId="ADAL" clId="{797FE4E0-A6B6-435B-ABB5-F0F85564C42C}" dt="2024-09-20T18:27:44.016" v="39" actId="1076"/>
        <pc:sldMkLst>
          <pc:docMk/>
          <pc:sldMk cId="1552511374" sldId="2147375627"/>
        </pc:sldMkLst>
        <pc:picChg chg="mod">
          <ac:chgData name="Hitesh, Hitesh SBOBNG-PTIY/AEC" userId="4b40d14c-6959-4a04-b09b-037994df9ab1" providerId="ADAL" clId="{797FE4E0-A6B6-435B-ABB5-F0F85564C42C}" dt="2024-09-20T18:27:44.016" v="39" actId="1076"/>
          <ac:picMkLst>
            <pc:docMk/>
            <pc:sldMk cId="1552511374" sldId="2147375627"/>
            <ac:picMk id="5122" creationId="{02827C9D-3B55-5C82-5583-A52CD9308ACF}"/>
          </ac:picMkLst>
        </pc:picChg>
      </pc:sldChg>
      <pc:sldChg chg="modSp mod">
        <pc:chgData name="Hitesh, Hitesh SBOBNG-PTIY/AEC" userId="4b40d14c-6959-4a04-b09b-037994df9ab1" providerId="ADAL" clId="{797FE4E0-A6B6-435B-ABB5-F0F85564C42C}" dt="2024-09-20T18:28:00.073" v="40" actId="14826"/>
        <pc:sldMkLst>
          <pc:docMk/>
          <pc:sldMk cId="2906602775" sldId="2147375628"/>
        </pc:sldMkLst>
        <pc:picChg chg="mod">
          <ac:chgData name="Hitesh, Hitesh SBOBNG-PTIY/AEC" userId="4b40d14c-6959-4a04-b09b-037994df9ab1" providerId="ADAL" clId="{797FE4E0-A6B6-435B-ABB5-F0F85564C42C}" dt="2024-09-20T18:28:00.073" v="40" actId="14826"/>
          <ac:picMkLst>
            <pc:docMk/>
            <pc:sldMk cId="2906602775" sldId="2147375628"/>
            <ac:picMk id="6" creationId="{1115259E-6B59-21AF-2305-368A5EBEFFA6}"/>
          </ac:picMkLst>
        </pc:picChg>
      </pc:sldChg>
      <pc:sldChg chg="addSp delSp modSp mod">
        <pc:chgData name="Hitesh, Hitesh SBOBNG-PTIY/AEC" userId="4b40d14c-6959-4a04-b09b-037994df9ab1" providerId="ADAL" clId="{797FE4E0-A6B6-435B-ABB5-F0F85564C42C}" dt="2024-09-20T18:25:08.981" v="35" actId="1076"/>
        <pc:sldMkLst>
          <pc:docMk/>
          <pc:sldMk cId="2489938054" sldId="2147375632"/>
        </pc:sldMkLst>
        <pc:spChg chg="mod">
          <ac:chgData name="Hitesh, Hitesh SBOBNG-PTIY/AEC" userId="4b40d14c-6959-4a04-b09b-037994df9ab1" providerId="ADAL" clId="{797FE4E0-A6B6-435B-ABB5-F0F85564C42C}" dt="2024-09-20T18:21:41.643" v="24" actId="27636"/>
          <ac:spMkLst>
            <pc:docMk/>
            <pc:sldMk cId="2489938054" sldId="2147375632"/>
            <ac:spMk id="11" creationId="{8CC1343B-2E39-FEFF-8FF6-46822F18B432}"/>
          </ac:spMkLst>
        </pc:spChg>
        <pc:picChg chg="mod">
          <ac:chgData name="Hitesh, Hitesh SBOBNG-PTIY/AEC" userId="4b40d14c-6959-4a04-b09b-037994df9ab1" providerId="ADAL" clId="{797FE4E0-A6B6-435B-ABB5-F0F85564C42C}" dt="2024-09-20T18:25:08.981" v="35" actId="1076"/>
          <ac:picMkLst>
            <pc:docMk/>
            <pc:sldMk cId="2489938054" sldId="2147375632"/>
            <ac:picMk id="6" creationId="{7123C600-B159-F4AB-12A1-E02429470F50}"/>
          </ac:picMkLst>
        </pc:picChg>
        <pc:picChg chg="add del mod modCrop">
          <ac:chgData name="Hitesh, Hitesh SBOBNG-PTIY/AEC" userId="4b40d14c-6959-4a04-b09b-037994df9ab1" providerId="ADAL" clId="{797FE4E0-A6B6-435B-ABB5-F0F85564C42C}" dt="2024-09-20T18:24:54.302" v="30" actId="478"/>
          <ac:picMkLst>
            <pc:docMk/>
            <pc:sldMk cId="2489938054" sldId="2147375632"/>
            <ac:picMk id="8" creationId="{12104467-3AA1-4340-3F2E-80BFA7A6ED2B}"/>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376497"/>
            <a:ext cx="10525125" cy="1827167"/>
          </a:xfrm>
        </p:spPr>
        <p:txBody>
          <a:bodyPr anchor="b">
            <a:spAutoFit/>
          </a:bodyPr>
          <a:lstStyle/>
          <a:p>
            <a:r>
              <a:rPr lang="en-US" sz="3600" dirty="0"/>
              <a:t>Shell Bootcamp 2024 </a:t>
            </a:r>
          </a:p>
          <a:p>
            <a:r>
              <a:rPr lang="en-US" sz="4000" dirty="0"/>
              <a:t>SAP-ERP </a:t>
            </a:r>
            <a:r>
              <a:rPr lang="en-US" sz="4000" i="1" dirty="0"/>
              <a:t>FUNCTIONAL </a:t>
            </a:r>
            <a:r>
              <a:rPr lang="en-US" sz="4000" dirty="0"/>
              <a:t>3 Reflections for Week 5 (23-Sep-2024 – 27-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10636"/>
            <a:ext cx="7469623" cy="523220"/>
          </a:xfrm>
          <a:prstGeom prst="rect">
            <a:avLst/>
          </a:prstGeom>
          <a:noFill/>
        </p:spPr>
        <p:txBody>
          <a:bodyPr wrap="square" rtlCol="0">
            <a:spAutoFit/>
          </a:bodyPr>
          <a:lstStyle/>
          <a:p>
            <a:r>
              <a:rPr lang="en-IN" sz="2800" b="1" dirty="0">
                <a:solidFill>
                  <a:schemeClr val="bg1"/>
                </a:solidFill>
              </a:rPr>
              <a:t>Date : 27-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Optimizing Procurement with Procure to Pay</a:t>
            </a:r>
          </a:p>
          <a:p>
            <a:r>
              <a:rPr lang="en-US" b="1" dirty="0"/>
              <a:t>How I Feel Shell Implements This Learning:</a:t>
            </a:r>
          </a:p>
          <a:p>
            <a:r>
              <a:rPr lang="en-US" dirty="0"/>
              <a:t>Shell likely leverages the procure-to-pay flow to source essential raw materials and manage supplier relationships through Ariba, while optimizing inventory with SCM tools.</a:t>
            </a:r>
          </a:p>
          <a:p>
            <a:r>
              <a:rPr lang="en-US" b="1" dirty="0"/>
              <a:t>How I Feel Shell Benefits From This Learning:</a:t>
            </a:r>
          </a:p>
          <a:p>
            <a:r>
              <a:rPr lang="en-US" dirty="0"/>
              <a:t>Shell benefits by reducing procurement lead times, improving supplier collaboration, and maintaining optimal inventory levels, which enhances cost control and supply chain efficiency across global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2A1952D4-C932-BF5D-D129-0AA60E158F47}"/>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4843" t="15139" r="4296" b="9762"/>
          <a:stretch/>
        </p:blipFill>
        <p:spPr>
          <a:xfrm>
            <a:off x="6461291" y="1820863"/>
            <a:ext cx="5229722" cy="4106488"/>
          </a:xfrm>
          <a:prstGeom prst="rect">
            <a:avLst/>
          </a:prstGeom>
        </p:spPr>
      </p:pic>
    </p:spTree>
    <p:extLst>
      <p:ext uri="{BB962C8B-B14F-4D97-AF65-F5344CB8AC3E}">
        <p14:creationId xmlns:p14="http://schemas.microsoft.com/office/powerpoint/2010/main" val="3399457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469926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Streamlining Order to Cash in SAP</a:t>
            </a:r>
          </a:p>
          <a:p>
            <a:r>
              <a:rPr lang="en-US" sz="1600" b="1" dirty="0"/>
              <a:t>Challenge Faced:</a:t>
            </a:r>
          </a:p>
          <a:p>
            <a:r>
              <a:rPr lang="en-US" sz="1600" dirty="0"/>
              <a:t>Integrating accurate pricing procedures into the OTC flow can be difficult due to constantly fluctuating market rates and complex contractual terms in the energy sector.</a:t>
            </a:r>
          </a:p>
          <a:p>
            <a:r>
              <a:rPr lang="en-US" sz="1600" b="1" dirty="0"/>
              <a:t>Plan to Overcome:</a:t>
            </a:r>
          </a:p>
          <a:p>
            <a:r>
              <a:rPr lang="en-US" sz="1600" dirty="0"/>
              <a:t>Implement dynamic pricing models within SAP and ensure regular updates through market analysis to maintain accuracy and compli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6" name="Picture 15">
            <a:extLst>
              <a:ext uri="{FF2B5EF4-FFF2-40B4-BE49-F238E27FC236}">
                <a16:creationId xmlns:a16="http://schemas.microsoft.com/office/drawing/2014/main" id="{19A61CFF-002F-F242-4155-CC72D739245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400800" y="2384593"/>
            <a:ext cx="5384958" cy="3029039"/>
          </a:xfrm>
          <a:prstGeom prst="rect">
            <a:avLst/>
          </a:prstGeom>
        </p:spPr>
      </p:pic>
    </p:spTree>
    <p:extLst>
      <p:ext uri="{BB962C8B-B14F-4D97-AF65-F5344CB8AC3E}">
        <p14:creationId xmlns:p14="http://schemas.microsoft.com/office/powerpoint/2010/main" val="2838098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Make to Order Process in SAP</a:t>
            </a:r>
          </a:p>
          <a:p>
            <a:r>
              <a:rPr lang="en-US" sz="1600" b="1" dirty="0"/>
              <a:t>Challenge Faced:</a:t>
            </a:r>
          </a:p>
          <a:p>
            <a:r>
              <a:rPr lang="en-US" sz="1600" dirty="0"/>
              <a:t>Coordinating procurement and production for custom orders can lead to delays, especially when multiple vendors or specialized materials are required.</a:t>
            </a:r>
          </a:p>
          <a:p>
            <a:r>
              <a:rPr lang="en-US" sz="1600" b="1" dirty="0"/>
              <a:t>Plan to Overcome:</a:t>
            </a:r>
          </a:p>
          <a:p>
            <a:r>
              <a:rPr lang="en-US" sz="1600" dirty="0"/>
              <a:t>Improve vendor communication using SAP tools like RFQs and POs and streamline order tracking to ensure all parts and materials arrive on schedul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a:extLst>
              <a:ext uri="{FF2B5EF4-FFF2-40B4-BE49-F238E27FC236}">
                <a16:creationId xmlns:a16="http://schemas.microsoft.com/office/drawing/2014/main" id="{02827C9D-3B55-5C82-5583-A52CD9308ACF}"/>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6400799" y="2276573"/>
            <a:ext cx="5344146" cy="3245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511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Optimizing Procurement with Procure to Pay</a:t>
            </a:r>
          </a:p>
          <a:p>
            <a:r>
              <a:rPr lang="en-US" sz="1600" b="1" dirty="0"/>
              <a:t>Challenge Faced:</a:t>
            </a:r>
          </a:p>
          <a:p>
            <a:r>
              <a:rPr lang="en-US" sz="1600" dirty="0"/>
              <a:t>Managing supplier relationships through Ariba and optimizing inventory using SCM can be complex due to the scale of operations and global supplier base.</a:t>
            </a:r>
          </a:p>
          <a:p>
            <a:r>
              <a:rPr lang="en-US" sz="1600" b="1" dirty="0"/>
              <a:t>Plan to Overcome:</a:t>
            </a:r>
          </a:p>
          <a:p>
            <a:r>
              <a:rPr lang="en-US" sz="1600" dirty="0"/>
              <a:t>Enhance supplier collaboration through Ariba’s advanced features and implement real-time inventory monitoring in SAP to better predict procurement needs and avoid stockouts or overstoc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100" name="Picture 4" descr="The 7 dimensions of supply chain complexity">
            <a:extLst>
              <a:ext uri="{FF2B5EF4-FFF2-40B4-BE49-F238E27FC236}">
                <a16:creationId xmlns:a16="http://schemas.microsoft.com/office/drawing/2014/main" id="{E86CC6B2-0F62-DDCD-1C49-4EB591E0CA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07187" y="2426927"/>
            <a:ext cx="5137929" cy="2944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602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4062390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r>
              <a:rPr lang="en-US" sz="1600" dirty="0"/>
              <a:t>Review dynamic pricing models in SAP for better integration into the Order to Cash flow.</a:t>
            </a:r>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r>
              <a:rPr lang="en-US" sz="1600" dirty="0"/>
              <a:t>Enhance communication with vendors by setting up automated RFQs and tracking systems in SAP for custom orders.</a:t>
            </a:r>
            <a:endParaRPr lang="en-US" sz="1600" dirty="0">
              <a:latin typeface="Arial" panose="020B0604020202020204" pitchFamily="34" charset="0"/>
            </a:endParaRPr>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endParaRPr lang="en-US" sz="1600" dirty="0"/>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r>
              <a:rPr lang="en-US" sz="1600" dirty="0"/>
              <a:t>Explore and implement advanced features of Ariba for improved supplier collaboration.</a:t>
            </a:r>
            <a:endParaRPr lang="en-US" dirty="0">
              <a:latin typeface="Arial" panose="020B0604020202020204" pitchFamily="34" charset="0"/>
            </a:endParaRPr>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endParaRPr lang="en-US" sz="1600" dirty="0"/>
          </a:p>
          <a:p>
            <a:pPr marL="342900" marR="0" lvl="0" indent="-342900" defTabSz="914400" rtl="0" eaLnBrk="0" fontAlgn="base" latinLnBrk="0" hangingPunct="0">
              <a:lnSpc>
                <a:spcPct val="100000"/>
              </a:lnSpc>
              <a:spcBef>
                <a:spcPct val="0"/>
              </a:spcBef>
              <a:spcAft>
                <a:spcPct val="0"/>
              </a:spcAft>
              <a:buClrTx/>
              <a:buSzTx/>
              <a:buFont typeface="+mj-lt"/>
              <a:buAutoNum type="arabicPeriod"/>
              <a:tabLst/>
            </a:pPr>
            <a:r>
              <a:rPr lang="en-US" sz="1600" dirty="0"/>
              <a:t>Set up real-time inventory monitoring in SAP for better stock management within the Procure to Pay flow.</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altLang="en-US" dirty="0"/>
              <a:t>2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dirty="0"/>
          </a:p>
          <a:p>
            <a:pPr marL="342900" indent="-342900" eaLnBrk="0" fontAlgn="base" hangingPunct="0">
              <a:lnSpc>
                <a:spcPct val="100000"/>
              </a:lnSpc>
              <a:spcBef>
                <a:spcPct val="0"/>
              </a:spcBef>
              <a:spcAft>
                <a:spcPct val="0"/>
              </a:spcAft>
              <a:buFont typeface="+mj-lt"/>
              <a:buAutoNum type="arabicPeriod"/>
            </a:pPr>
            <a:r>
              <a:rPr lang="en-US" altLang="en-US" dirty="0"/>
              <a:t>3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dirty="0"/>
          </a:p>
          <a:p>
            <a:pPr marL="342900" indent="-342900" eaLnBrk="0" fontAlgn="base" hangingPunct="0">
              <a:lnSpc>
                <a:spcPct val="100000"/>
              </a:lnSpc>
              <a:spcBef>
                <a:spcPct val="0"/>
              </a:spcBef>
              <a:spcAft>
                <a:spcPct val="0"/>
              </a:spcAft>
              <a:buFont typeface="+mj-lt"/>
              <a:buAutoNum type="arabicPeriod"/>
            </a:pPr>
            <a:r>
              <a:rPr lang="en-US" altLang="en-US" dirty="0"/>
              <a:t>2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altLang="en-US" dirty="0"/>
          </a:p>
          <a:p>
            <a:pPr marL="342900" indent="-342900" eaLnBrk="0" fontAlgn="base" hangingPunct="0">
              <a:lnSpc>
                <a:spcPct val="100000"/>
              </a:lnSpc>
              <a:spcBef>
                <a:spcPct val="0"/>
              </a:spcBef>
              <a:spcAft>
                <a:spcPct val="0"/>
              </a:spcAft>
              <a:buFont typeface="+mj-lt"/>
              <a:buAutoNum type="arabicPeriod"/>
            </a:pPr>
            <a:r>
              <a:rPr lang="en-US" altLang="en-US" dirty="0"/>
              <a:t>3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sz="1600" dirty="0"/>
              <a:t>Pending</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sz="1600" dirty="0"/>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sz="1600" dirty="0"/>
              <a:t>In Progres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lang="en-US" sz="1600" dirty="0"/>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sz="1600" dirty="0"/>
              <a:t>Pending</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sz="1600" dirty="0"/>
              <a:t>In Progress</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1709158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4262359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buFont typeface="Arial" panose="020B0604020202020204" pitchFamily="34" charset="0"/>
              <a:buChar char="•"/>
            </a:pPr>
            <a:r>
              <a:rPr lang="en-US" sz="2000" b="1" dirty="0"/>
              <a:t>Activity</a:t>
            </a:r>
            <a:r>
              <a:rPr lang="en-US" sz="2000" dirty="0"/>
              <a:t>: </a:t>
            </a:r>
          </a:p>
          <a:p>
            <a:pPr lvl="1" algn="just"/>
            <a:r>
              <a:rPr lang="en-US" sz="1600" dirty="0"/>
              <a:t>We had interactive </a:t>
            </a:r>
            <a:r>
              <a:rPr lang="en-US" sz="1600" b="1" dirty="0"/>
              <a:t>jam sessions</a:t>
            </a:r>
            <a:r>
              <a:rPr lang="en-US" sz="1600" dirty="0"/>
              <a:t> and engaging </a:t>
            </a:r>
            <a:r>
              <a:rPr lang="en-US" sz="1600" b="1" dirty="0"/>
              <a:t>story sessions</a:t>
            </a:r>
            <a:r>
              <a:rPr lang="en-US" sz="1600" dirty="0"/>
              <a:t> where team members shared insights about their specialties. These sessions gave me a deeper understanding of my colleagues' expertise while building a collaborative learning environment. </a:t>
            </a:r>
          </a:p>
          <a:p>
            <a:pPr lvl="1" algn="just"/>
            <a:r>
              <a:rPr lang="en-US" sz="1600" dirty="0"/>
              <a:t>A big relief came when we transitioned to </a:t>
            </a:r>
            <a:r>
              <a:rPr lang="en-US" sz="1600" b="1" dirty="0"/>
              <a:t>hands-on practical sessions</a:t>
            </a:r>
            <a:r>
              <a:rPr lang="en-US" sz="1600" dirty="0"/>
              <a:t> after several long days of theory. The practical work allowed us to apply what we had learned, making the experience more dynamic and engaging.</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123C600-B159-F4AB-12A1-E02429470F50}"/>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6400800" y="2584001"/>
            <a:ext cx="5350706" cy="2835874"/>
          </a:xfrm>
          <a:prstGeom prst="rect">
            <a:avLst/>
          </a:prstGeom>
        </p:spPr>
      </p:pic>
    </p:spTree>
    <p:extLst>
      <p:ext uri="{BB962C8B-B14F-4D97-AF65-F5344CB8AC3E}">
        <p14:creationId xmlns:p14="http://schemas.microsoft.com/office/powerpoint/2010/main" val="24899380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Quick Summary:</a:t>
            </a:r>
          </a:p>
          <a:p>
            <a:pPr lvl="1"/>
            <a:r>
              <a:rPr lang="en-US" dirty="0"/>
              <a:t>This week’s focus was on three key SAP processes: Order to Cash, Make to Order, and Procure to Pay. Each topic provided insights into managing critical business functions such as pricing, production, procurement, and supplier collaboration, essential for streamlining operations in the energy sector.</a:t>
            </a:r>
          </a:p>
          <a:p>
            <a:r>
              <a:rPr lang="en-US" sz="1600" b="1" dirty="0"/>
              <a:t>Importance of Topics for Upcoming Week:</a:t>
            </a:r>
          </a:p>
          <a:p>
            <a:pPr lvl="1"/>
            <a:r>
              <a:rPr lang="en-US" dirty="0"/>
              <a:t>The learnings will be essential next week as I dive deeper into optimizing SAP workflows. Dynamic pricing models, vendor management, and inventory control will be crucial areas to explore further to ensure seamless integration and efficiency improvements across processes.</a:t>
            </a:r>
          </a:p>
          <a:p>
            <a:r>
              <a:rPr lang="en-US" sz="1600" b="1" dirty="0"/>
              <a:t>Connectivity of Topics from Current Week:</a:t>
            </a:r>
          </a:p>
          <a:p>
            <a:pPr lvl="1"/>
            <a:r>
              <a:rPr lang="en-US" dirty="0"/>
              <a:t>The topics covered this week are interconnected, as all three (OTC, Make to Order, and Procure to Pay) contribute to a complete cycle of sales, production, and procurement. Mastering these processes allows for better resource allocation, financial management, and timely delivery, aligning with Shell’s operational needs.</a:t>
            </a:r>
          </a:p>
        </p:txBody>
      </p:sp>
    </p:spTree>
    <p:extLst>
      <p:ext uri="{BB962C8B-B14F-4D97-AF65-F5344CB8AC3E}">
        <p14:creationId xmlns:p14="http://schemas.microsoft.com/office/powerpoint/2010/main" val="3056957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800"/>
              <a:t>Honesty is the first chapter in the book of wisdom.</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leaf on a piece of paper&#10;&#10;Description automatically generated">
            <a:extLst>
              <a:ext uri="{FF2B5EF4-FFF2-40B4-BE49-F238E27FC236}">
                <a16:creationId xmlns:a16="http://schemas.microsoft.com/office/drawing/2014/main" id="{EAA9B2AC-3922-020F-7898-906C214E1A4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425841" y="1831737"/>
            <a:ext cx="3300624" cy="4076242"/>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2437893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t>Key Learning: Order to Cash Flow and Pricing Procedure</a:t>
            </a:r>
          </a:p>
          <a:p>
            <a:pPr>
              <a:buFont typeface="Arial" panose="020B0604020202020204" pitchFamily="34" charset="0"/>
              <a:buChar char="•"/>
            </a:pPr>
            <a:r>
              <a:rPr lang="en-US" sz="1400" b="1" dirty="0"/>
              <a:t>Key Takeaway:</a:t>
            </a:r>
            <a:r>
              <a:rPr lang="en-US" sz="1400" dirty="0"/>
              <a:t> OTC involves managing the entire process from sales order to customer payment, with pricing procedures ensuring accurate product pricing.</a:t>
            </a:r>
          </a:p>
          <a:p>
            <a:pPr>
              <a:buFont typeface="Arial" panose="020B0604020202020204" pitchFamily="34" charset="0"/>
              <a:buChar char="•"/>
            </a:pPr>
            <a:r>
              <a:rPr lang="en-US" sz="1400" b="1" dirty="0"/>
              <a:t>How I See It Implemented in the Energy Sector:</a:t>
            </a:r>
            <a:r>
              <a:rPr lang="en-US" sz="1400" dirty="0"/>
              <a:t> Energy companies use OTC to manage customer contracts and pricing, adjusting for market variables and ensuring compliance.</a:t>
            </a:r>
            <a:endParaRPr lang="en-US" sz="1400" b="1" dirty="0"/>
          </a:p>
          <a:p>
            <a:endParaRPr lang="en-US" sz="500" b="1" dirty="0"/>
          </a:p>
          <a:p>
            <a:r>
              <a:rPr lang="en-US" sz="1400" b="1" dirty="0"/>
              <a:t>Key Learning: Plant, Sales Org., Distribution Channels, Delivery, Goods Issued, Invoice</a:t>
            </a:r>
          </a:p>
          <a:p>
            <a:pPr>
              <a:buFont typeface="Arial" panose="020B0604020202020204" pitchFamily="34" charset="0"/>
              <a:buChar char="•"/>
            </a:pPr>
            <a:r>
              <a:rPr lang="en-US" sz="1400" b="1" dirty="0"/>
              <a:t>Key Takeaway:</a:t>
            </a:r>
            <a:r>
              <a:rPr lang="en-US" sz="1400" dirty="0"/>
              <a:t> Configuring plants, sales organizations, and channels ensures smooth operations, while deliveries, goods issued, and invoices track product flow and revenue.</a:t>
            </a:r>
          </a:p>
          <a:p>
            <a:pPr>
              <a:buFont typeface="Arial" panose="020B0604020202020204" pitchFamily="34" charset="0"/>
              <a:buChar char="•"/>
            </a:pPr>
            <a:r>
              <a:rPr lang="en-US" sz="1400" b="1" dirty="0"/>
              <a:t>How I See It Implemented in the Energy Sector:</a:t>
            </a:r>
            <a:r>
              <a:rPr lang="en-US" sz="1400" dirty="0"/>
              <a:t> Energy firms use these configurations to manage distribution and logistics, ensuring seamless operations from production to customer delive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a:extLst>
              <a:ext uri="{FF2B5EF4-FFF2-40B4-BE49-F238E27FC236}">
                <a16:creationId xmlns:a16="http://schemas.microsoft.com/office/drawing/2014/main" id="{820842B5-632A-F598-17D1-30DA0A2C51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576296" y="2646798"/>
            <a:ext cx="4999712" cy="2523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621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Key Learning: Make to Order Flow (PR - RFQ - Quotation - PO - GR - IR)</a:t>
            </a:r>
          </a:p>
          <a:p>
            <a:pPr>
              <a:buFont typeface="Arial" panose="020B0604020202020204" pitchFamily="34" charset="0"/>
              <a:buChar char="•"/>
            </a:pPr>
            <a:r>
              <a:rPr lang="en-US" b="1" dirty="0"/>
              <a:t>Key Takeaway:</a:t>
            </a:r>
            <a:r>
              <a:rPr lang="en-US" dirty="0"/>
              <a:t> The make-to-order process begins with a purchase requisition (PR) and follows a chain from requests for quotations (RFQs) to purchase orders (POs), goods receipts (GRs), and invoice receipts (IRs).</a:t>
            </a:r>
          </a:p>
          <a:p>
            <a:pPr>
              <a:buFont typeface="Arial" panose="020B0604020202020204" pitchFamily="34" charset="0"/>
              <a:buChar char="•"/>
            </a:pPr>
            <a:r>
              <a:rPr lang="en-US" b="1" dirty="0"/>
              <a:t>How I See It Implemented in the Energy Sector:</a:t>
            </a:r>
            <a:r>
              <a:rPr lang="en-US" dirty="0"/>
              <a:t> This process is vital for custom orders in the energy industry, such as when a customer needs a specific type of transformer or a custom-built rig. Efficient make-to-order processes enable energy companies to meet customer specifications while managing procurement and production timelin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a:extLst>
              <a:ext uri="{FF2B5EF4-FFF2-40B4-BE49-F238E27FC236}">
                <a16:creationId xmlns:a16="http://schemas.microsoft.com/office/drawing/2014/main" id="{A5838BAB-9255-906D-BDA1-552C84DBF78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460768" y="2437880"/>
            <a:ext cx="5230768" cy="2922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604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Optimizing Procurement with Procure to Pay</a:t>
            </a:r>
          </a:p>
          <a:p>
            <a:r>
              <a:rPr lang="en-US" sz="1600" b="1" dirty="0"/>
              <a:t>Key Learning: Procure to Pay Flow, Ariba, Supply Chain Management (SCM)</a:t>
            </a:r>
          </a:p>
          <a:p>
            <a:pPr>
              <a:buFont typeface="Arial" panose="020B0604020202020204" pitchFamily="34" charset="0"/>
              <a:buChar char="•"/>
            </a:pPr>
            <a:r>
              <a:rPr lang="en-US" sz="1600" b="1" dirty="0"/>
              <a:t>Key Takeaway:</a:t>
            </a:r>
            <a:r>
              <a:rPr lang="en-US" sz="1600" dirty="0"/>
              <a:t> The procure to pay (P2P) process covers the entire procurement lifecycle from sourcing to payment, often integrated with Ariba for supplier collaboration and enhanced SCM for inventory management.</a:t>
            </a:r>
          </a:p>
          <a:p>
            <a:pPr>
              <a:buFont typeface="Arial" panose="020B0604020202020204" pitchFamily="34" charset="0"/>
              <a:buChar char="•"/>
            </a:pPr>
            <a:r>
              <a:rPr lang="en-US" sz="1600" b="1" dirty="0"/>
              <a:t>How I See It Implemented in the Energy Sector:</a:t>
            </a:r>
            <a:r>
              <a:rPr lang="en-US" sz="1600" dirty="0"/>
              <a:t> Energy companies use the P2P process to handle large-scale procurement needs, such as securing raw materials (e.g., oil, gas, equipment) while optimizing inventory through SCM systems. Ariba allows for better supplier management, reducing procurement lead times and improving cost-efficiency in high-stakes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a:extLst>
              <a:ext uri="{FF2B5EF4-FFF2-40B4-BE49-F238E27FC236}">
                <a16:creationId xmlns:a16="http://schemas.microsoft.com/office/drawing/2014/main" id="{55AEC334-4A37-4C98-1C1D-90F50548F21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500898" y="2585331"/>
            <a:ext cx="5150507" cy="2627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610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18224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t>Streamlining Order to Cash in SAP</a:t>
            </a:r>
          </a:p>
          <a:p>
            <a:r>
              <a:rPr lang="en-US" sz="1600" b="1" dirty="0"/>
              <a:t>How I Feel Shell Implements This Learning:</a:t>
            </a:r>
          </a:p>
          <a:p>
            <a:r>
              <a:rPr lang="en-US" sz="1600" dirty="0"/>
              <a:t>Shell likely uses the OTC flow to manage sales of oil, gas, and related products, integrating pricing procedures to reflect dynamic market rates and contracts.</a:t>
            </a:r>
          </a:p>
          <a:p>
            <a:r>
              <a:rPr lang="en-US" sz="1600" b="1" dirty="0"/>
              <a:t>How I Feel Shell Benefits From This Learning:</a:t>
            </a:r>
          </a:p>
          <a:p>
            <a:r>
              <a:rPr lang="en-US" sz="1600" dirty="0"/>
              <a:t>By using efficient OTC and pricing processes, Shell ensures timely payments, accurate invoicing, and flexible pricing, ultimately improving revenue management and customer satisfac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a:extLst>
              <a:ext uri="{FF2B5EF4-FFF2-40B4-BE49-F238E27FC236}">
                <a16:creationId xmlns:a16="http://schemas.microsoft.com/office/drawing/2014/main" id="{2D5D34EC-9FE2-69A1-18B9-E3D61E0B699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9361" y="2767215"/>
            <a:ext cx="5233581" cy="2263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093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ake to Order Process in SAP</a:t>
            </a:r>
          </a:p>
          <a:p>
            <a:r>
              <a:rPr lang="en-US" b="1" dirty="0"/>
              <a:t>How I Feel Shell Implements This Learning:</a:t>
            </a:r>
          </a:p>
          <a:p>
            <a:r>
              <a:rPr lang="en-US" dirty="0"/>
              <a:t>Shell might use the make-to-order process to fulfill specialized equipment orders, such as custom rigs or refinery components, adhering to precise customer specifications.</a:t>
            </a:r>
          </a:p>
          <a:p>
            <a:r>
              <a:rPr lang="en-US" b="1" dirty="0"/>
              <a:t>How I Feel Shell Benefits From This Learning:</a:t>
            </a:r>
          </a:p>
          <a:p>
            <a:r>
              <a:rPr lang="en-US" dirty="0"/>
              <a:t>This approach helps Shell streamline procurement for custom projects, reduce production delays, and meet customer demands efficiently, enhancing project timelines and profitabil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8045C53F-0434-1CA2-9B95-E6A3FC362067}"/>
              </a:ext>
            </a:extLst>
          </p:cNvPr>
          <p:cNvPicPr>
            <a:picLocks noChangeAspect="1"/>
          </p:cNvPicPr>
          <p:nvPr/>
        </p:nvPicPr>
        <p:blipFill>
          <a:blip r:embed="rId7"/>
          <a:stretch>
            <a:fillRect/>
          </a:stretch>
        </p:blipFill>
        <p:spPr>
          <a:xfrm>
            <a:off x="6650970" y="2686522"/>
            <a:ext cx="4850363" cy="2425182"/>
          </a:xfrm>
          <a:prstGeom prst="rect">
            <a:avLst/>
          </a:prstGeom>
        </p:spPr>
      </p:pic>
    </p:spTree>
    <p:extLst>
      <p:ext uri="{BB962C8B-B14F-4D97-AF65-F5344CB8AC3E}">
        <p14:creationId xmlns:p14="http://schemas.microsoft.com/office/powerpoint/2010/main" val="3041550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schemas.openxmlformats.org/package/2006/metadata/core-properties"/>
    <ds:schemaRef ds:uri="http://purl.org/dc/terms/"/>
    <ds:schemaRef ds:uri="http://schemas.microsoft.com/office/2006/metadata/properties"/>
    <ds:schemaRef ds:uri="http://schemas.microsoft.com/office/2006/documentManagement/types"/>
    <ds:schemaRef ds:uri="489eda54-cdc8-4a48-94a2-8f9cf8024289"/>
    <ds:schemaRef ds:uri="http://purl.org/dc/dcmitype/"/>
    <ds:schemaRef ds:uri="http://schemas.microsoft.com/office/infopath/2007/PartnerControls"/>
    <ds:schemaRef ds:uri="d64320fb-f9a3-4131-8206-9d18da17abe9"/>
    <ds:schemaRef ds:uri="http://www.w3.org/XML/1998/namespace"/>
    <ds:schemaRef ds:uri="http://purl.org/dc/elements/1.1/"/>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95</TotalTime>
  <Words>1250</Words>
  <Application>Microsoft Office PowerPoint</Application>
  <PresentationFormat>Widescreen</PresentationFormat>
  <Paragraphs>114</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Hitesh SBOBNG-PTIY/AEC</cp:lastModifiedBy>
  <cp:revision>534</cp:revision>
  <dcterms:created xsi:type="dcterms:W3CDTF">2022-01-18T12:35:56Z</dcterms:created>
  <dcterms:modified xsi:type="dcterms:W3CDTF">2024-09-26T16: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